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4"/>
  </p:notesMasterIdLst>
  <p:sldIdLst>
    <p:sldId id="1448944043" r:id="rId5"/>
    <p:sldId id="259" r:id="rId6"/>
    <p:sldId id="260" r:id="rId7"/>
    <p:sldId id="262" r:id="rId8"/>
    <p:sldId id="1448944044" r:id="rId9"/>
    <p:sldId id="1448944040" r:id="rId10"/>
    <p:sldId id="261" r:id="rId11"/>
    <p:sldId id="1448944064" r:id="rId12"/>
    <p:sldId id="144894406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05"/>
    <p:restoredTop sz="93503"/>
  </p:normalViewPr>
  <p:slideViewPr>
    <p:cSldViewPr snapToGrid="0">
      <p:cViewPr varScale="1">
        <p:scale>
          <a:sx n="78" d="100"/>
          <a:sy n="78" d="100"/>
        </p:scale>
        <p:origin x="176" y="8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0632D-08D8-D44B-A3E6-30C5C85271FD}" type="datetimeFigureOut">
              <a:rPr lang="en-US" smtClean="0"/>
              <a:t>2/25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BE0BA1-45C4-8B4D-863F-ED31FCE83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14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latin typeface="Calibri" panose="020F0502020204030204" pitchFamily="34" charset="0"/>
                <a:cs typeface="Calibri" panose="020F0502020204030204" pitchFamily="34" charset="0"/>
              </a:rPr>
              <a:t>The 2022 WHO recommendation expanding Seasonal Malaria Chemoprevention (SMC) beyond the Sahel represents a major shift in malaria prevention polic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BE0BA1-45C4-8B4D-863F-ED31FCE837C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845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0" dirty="0">
                <a:latin typeface="Calibri" panose="020F0502020204030204" pitchFamily="34" charset="0"/>
                <a:cs typeface="Calibri" panose="020F0502020204030204" pitchFamily="34" charset="0"/>
              </a:rPr>
              <a:t>Ideal Setting for testing Chemoprevention outside the Sah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BE0BA1-45C4-8B4D-863F-ED31FCE837C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94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8" y="1508400"/>
            <a:ext cx="11068061" cy="45900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54918" y="6418384"/>
            <a:ext cx="11905444" cy="361287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97" y="171576"/>
            <a:ext cx="950400" cy="972000"/>
          </a:xfrm>
          <a:prstGeom prst="rect">
            <a:avLst/>
          </a:prstGeom>
        </p:spPr>
      </p:pic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0" y="-9189"/>
            <a:ext cx="12216000" cy="1217889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 sz="1800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7" y="359647"/>
            <a:ext cx="9961584" cy="831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0872730" y="327842"/>
            <a:ext cx="890020" cy="957580"/>
            <a:chOff x="8154546" y="245881"/>
            <a:chExt cx="667515" cy="718185"/>
          </a:xfrm>
        </p:grpSpPr>
        <p:sp>
          <p:nvSpPr>
            <p:cNvPr id="16" name="Rectangle 2"/>
            <p:cNvSpPr>
              <a:spLocks noChangeArrowheads="1"/>
            </p:cNvSpPr>
            <p:nvPr userDrawn="1"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anchor="ctr"/>
            <a:lstStyle/>
            <a:p>
              <a:endParaRPr lang="en-US" sz="1800">
                <a:latin typeface="Calibri" pitchFamily="34" charset="0"/>
              </a:endParaRPr>
            </a:p>
          </p:txBody>
        </p:sp>
        <p:pic>
          <p:nvPicPr>
            <p:cNvPr id="18" name="Picture 17" descr="logo.pdf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969" y="245881"/>
              <a:ext cx="526669" cy="718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501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8" y="159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" y="1591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240293"/>
            <a:ext cx="8534400" cy="283155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/>
              <a:t>Date (Arial 16pt, Black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115888"/>
            <a:ext cx="12216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 sz="1800">
              <a:latin typeface="Calibri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54917" y="6418384"/>
            <a:ext cx="11908048" cy="361287"/>
            <a:chOff x="6337134" y="2762841"/>
            <a:chExt cx="2806866" cy="361287"/>
          </a:xfrm>
        </p:grpSpPr>
        <p:sp>
          <p:nvSpPr>
            <p:cNvPr id="11" name="Rectangle 1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</p:grpSp>
      <p:sp>
        <p:nvSpPr>
          <p:cNvPr id="3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317772"/>
            <a:ext cx="85344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3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3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ame / other info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3" y="3259011"/>
            <a:ext cx="10363197" cy="89248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/>
              <a:t>Subtitle in Title Case (Arial 24pt, Black)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3" y="1711749"/>
            <a:ext cx="10363197" cy="1470025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/>
              <a:t>Title in Title Case</a:t>
            </a:r>
            <a:br>
              <a:rPr lang="en-US"/>
            </a:br>
            <a:r>
              <a:rPr lang="en-US"/>
              <a:t>(Arial Bold 32pt, Dark Red)</a:t>
            </a:r>
          </a:p>
        </p:txBody>
      </p:sp>
      <p:pic>
        <p:nvPicPr>
          <p:cNvPr id="16" name="Picture 15" descr="logo.pdf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42" y="351309"/>
            <a:ext cx="944372" cy="12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36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8" y="159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" y="1591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5317772"/>
            <a:ext cx="85344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3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3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3" y="3259011"/>
            <a:ext cx="10363197" cy="89248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240293"/>
            <a:ext cx="8534400" cy="283155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3" y="1711749"/>
            <a:ext cx="10363197" cy="1470025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/>
              <a:t>Title in Title Case</a:t>
            </a:r>
            <a:br>
              <a:rPr lang="en-US"/>
            </a:br>
            <a:r>
              <a:rPr lang="en-US"/>
              <a:t>(Arial Bold 32pt, Dark Red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115888"/>
            <a:ext cx="12216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 sz="1800">
              <a:latin typeface="Calibri" pitchFamily="34" charset="0"/>
            </a:endParaRPr>
          </a:p>
        </p:txBody>
      </p:sp>
      <p:pic>
        <p:nvPicPr>
          <p:cNvPr id="22" name="Picture 21" descr="logo.pdf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5304" y="5758848"/>
            <a:ext cx="726440" cy="99060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516384" y="6327333"/>
            <a:ext cx="5588000" cy="336000"/>
            <a:chOff x="6337134" y="2762841"/>
            <a:chExt cx="1403652" cy="361287"/>
          </a:xfrm>
        </p:grpSpPr>
        <p:sp>
          <p:nvSpPr>
            <p:cNvPr id="27" name="Rectangle 26"/>
            <p:cNvSpPr/>
            <p:nvPr/>
          </p:nvSpPr>
          <p:spPr>
            <a:xfrm>
              <a:off x="6337134" y="2762841"/>
              <a:ext cx="140365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37134" y="2896203"/>
              <a:ext cx="140365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37134" y="3029563"/>
              <a:ext cx="140365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639A567-16A8-7620-7428-C51DDBB11D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29200" y="5770685"/>
            <a:ext cx="1534001" cy="9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45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B8BEE-324C-D782-3AA1-8DA598A0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2513A-07C3-9CC8-0BFD-754881B5BE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A11FAD-CAD6-5E12-DD13-6DF309D7E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F00E8-C1E6-7E47-A1F2-A5A32083BD14}" type="datetimeFigureOut">
              <a:rPr lang="en-US" smtClean="0"/>
              <a:t>2/25/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009C2-6A00-BB82-AE47-27DF8010F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8FCE07-6355-04B5-04AE-E27A4FAF5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E1DC9-1FDC-6C4B-A999-E0AC3D513FA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.pdf">
            <a:extLst>
              <a:ext uri="{FF2B5EF4-FFF2-40B4-BE49-F238E27FC236}">
                <a16:creationId xmlns:a16="http://schemas.microsoft.com/office/drawing/2014/main" id="{DC5B492C-3668-95A7-02AD-4CAA48BD48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5304" y="5758848"/>
            <a:ext cx="726440" cy="990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DAB1905-8FBA-6E38-FFF3-41E6B432CA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71440" y="5758847"/>
            <a:ext cx="1534001" cy="9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487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6466" y="1537505"/>
            <a:ext cx="11068061" cy="45900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6466" y="390832"/>
            <a:ext cx="9454841" cy="89459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54918" y="6418384"/>
            <a:ext cx="11905444" cy="361287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986" y="327842"/>
            <a:ext cx="702225" cy="95758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65C3AEF-A2B6-D3F0-BB89-8929057B91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98662" y="429626"/>
            <a:ext cx="1385324" cy="894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025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018" y="1591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" y="1591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708" y="1508400"/>
            <a:ext cx="11068061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115888"/>
            <a:ext cx="12216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 sz="1800"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562708" y="359647"/>
            <a:ext cx="11068061" cy="8316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485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779233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33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indent="-194808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indent="-194808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08" indent="-198866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27" indent="-196161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89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05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21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738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4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64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8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97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1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92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2CB52-C468-D7B5-3EC1-5A5898D247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9802" y="3301508"/>
            <a:ext cx="7772398" cy="669360"/>
          </a:xfrm>
        </p:spPr>
        <p:txBody>
          <a:bodyPr anchor="b">
            <a:normAutofit/>
          </a:bodyPr>
          <a:lstStyle/>
          <a:p>
            <a:br>
              <a:rPr lang="en-GB" sz="1875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875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BB97CBD-F105-D14D-5F29-762197BF7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04292" y="4146173"/>
            <a:ext cx="7983415" cy="253177"/>
          </a:xfrm>
        </p:spPr>
        <p:txBody>
          <a:bodyPr/>
          <a:lstStyle/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Donni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tegul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 MBBS, MSc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Re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PhD</a:t>
            </a: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alawi Liverpool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ellcom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Program/Liverpool School of Tropical Medicine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MC Alliance meeting, Uganda. 26 Feb 2026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B971406-6D9F-0CF2-795E-AF0CE1E7AA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79331" y="2023684"/>
            <a:ext cx="8833338" cy="1102519"/>
          </a:xfrm>
        </p:spPr>
        <p:txBody>
          <a:bodyPr/>
          <a:lstStyle/>
          <a:p>
            <a:r>
              <a:rPr lang="en-GB" sz="4400" dirty="0" err="1">
                <a:latin typeface="Calibri" panose="020F0502020204030204" pitchFamily="34" charset="0"/>
                <a:cs typeface="Calibri" panose="020F0502020204030204" pitchFamily="34" charset="0"/>
              </a:rPr>
              <a:t>CHoice</a:t>
            </a:r>
            <a:r>
              <a:rPr lang="en-GB" sz="4400" dirty="0">
                <a:latin typeface="Calibri" panose="020F0502020204030204" pitchFamily="34" charset="0"/>
                <a:cs typeface="Calibri" panose="020F0502020204030204" pitchFamily="34" charset="0"/>
              </a:rPr>
              <a:t> of Anti-Malarial drugs for </a:t>
            </a:r>
            <a:r>
              <a:rPr lang="en-GB" sz="4400" dirty="0" err="1">
                <a:latin typeface="Calibri" panose="020F0502020204030204" pitchFamily="34" charset="0"/>
                <a:cs typeface="Calibri" panose="020F0502020204030204" pitchFamily="34" charset="0"/>
              </a:rPr>
              <a:t>chemoPrevention</a:t>
            </a:r>
            <a:r>
              <a:rPr lang="en-GB" sz="4400" dirty="0">
                <a:latin typeface="Calibri" panose="020F0502020204030204" pitchFamily="34" charset="0"/>
                <a:cs typeface="Calibri" panose="020F0502020204030204" pitchFamily="34" charset="0"/>
              </a:rPr>
              <a:t> in Malawi </a:t>
            </a:r>
          </a:p>
          <a:p>
            <a:r>
              <a:rPr lang="en-GB" sz="4400" dirty="0">
                <a:latin typeface="Calibri" panose="020F0502020204030204" pitchFamily="34" charset="0"/>
                <a:cs typeface="Calibri" panose="020F0502020204030204" pitchFamily="34" charset="0"/>
              </a:rPr>
              <a:t>(CHAMP Drug)</a:t>
            </a:r>
            <a:endParaRPr lang="en-US" sz="4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18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60597-A66F-ACD6-1063-2C071EB15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C outside the Sah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C0DA6-676A-BF42-1027-3A24C53ECE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231" y="983700"/>
            <a:ext cx="10175240" cy="524502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5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b="0" dirty="0">
                <a:latin typeface="Calibri" panose="020F0502020204030204" pitchFamily="34" charset="0"/>
                <a:cs typeface="Calibri" panose="020F0502020204030204" pitchFamily="34" charset="0"/>
              </a:rPr>
              <a:t>Evidence supporting SMC effectiveness in outside the Sahel remains limited and uncert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b="0" dirty="0">
                <a:latin typeface="Calibri" panose="020F0502020204030204" pitchFamily="34" charset="0"/>
                <a:cs typeface="Calibri" panose="020F0502020204030204" pitchFamily="34" charset="0"/>
              </a:rPr>
              <a:t>No individually randomized trials of SPAQ for SMC in East or Southern Africa</a:t>
            </a:r>
          </a:p>
          <a:p>
            <a:pPr marL="0" indent="0">
              <a:buNone/>
            </a:pPr>
            <a:endParaRPr lang="en-GB" sz="25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32516" lvl="1" indent="-342900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D39E0-9723-C7BE-4344-AC0DB858E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128" y="1497333"/>
            <a:ext cx="7772400" cy="27387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56CB13-3DAD-5B1C-0D85-9590A22E5E64}"/>
              </a:ext>
            </a:extLst>
          </p:cNvPr>
          <p:cNvSpPr txBox="1"/>
          <p:nvPr/>
        </p:nvSpPr>
        <p:spPr>
          <a:xfrm>
            <a:off x="736340" y="6336207"/>
            <a:ext cx="3052439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HO Malaria Guidelines: </a:t>
            </a:r>
            <a:r>
              <a:rPr lang="en-US" sz="1400" dirty="0" err="1">
                <a:solidFill>
                  <a:schemeClr val="bg1">
                    <a:lumMod val="65000"/>
                  </a:schemeClr>
                </a:solidFill>
              </a:rPr>
              <a:t>MagicApp</a:t>
            </a:r>
            <a:endParaRPr lang="en-US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B9D6D3-581F-3559-8EE8-DD49B0C323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9157" y="470541"/>
            <a:ext cx="2877430" cy="183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4402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67474-A0FA-C969-1168-3B9385B71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040" y="761365"/>
            <a:ext cx="10515600" cy="1325563"/>
          </a:xfrm>
        </p:spPr>
        <p:txBody>
          <a:bodyPr>
            <a:noAutofit/>
          </a:bodyPr>
          <a:lstStyle/>
          <a:p>
            <a:r>
              <a:rPr lang="en-GB" sz="3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 chemoprevention achieve the same impact in East and Southern Africa as observed in the Sahel?</a:t>
            </a:r>
            <a:br>
              <a:rPr lang="en-GB" sz="3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C04824-AB87-EF6B-F959-3B154FE32C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040" y="2476073"/>
            <a:ext cx="4900246" cy="4590000"/>
          </a:xfrm>
        </p:spPr>
        <p:txBody>
          <a:bodyPr>
            <a:normAutofit/>
          </a:bodyPr>
          <a:lstStyle/>
          <a:p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Sahel characterized by:</a:t>
            </a: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Highly seasonal transmission</a:t>
            </a: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Predictable malaria peaks</a:t>
            </a: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Established SP+AQ regime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D48617D-A337-BFBF-A5BF-0C286D2A3778}"/>
              </a:ext>
            </a:extLst>
          </p:cNvPr>
          <p:cNvSpPr txBox="1">
            <a:spLocks/>
          </p:cNvSpPr>
          <p:nvPr/>
        </p:nvSpPr>
        <p:spPr>
          <a:xfrm>
            <a:off x="5831840" y="2476073"/>
            <a:ext cx="5786119" cy="459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779233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16" indent="-194808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33" indent="-194808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2908" indent="-198866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4627" indent="-196161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889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05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21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738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East and </a:t>
            </a:r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Southern African settings:</a:t>
            </a:r>
            <a:endParaRPr lang="en-GB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More heterogeneous transmission</a:t>
            </a: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Longer or bimodal seasons</a:t>
            </a:r>
          </a:p>
          <a:p>
            <a:pPr lvl="2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Different drug resistance patterns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67133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32FAD-7F68-7002-E09E-3DA63ECD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708" y="543601"/>
            <a:ext cx="11068061" cy="831600"/>
          </a:xfrm>
        </p:spPr>
        <p:txBody>
          <a:bodyPr/>
          <a:lstStyle/>
          <a:p>
            <a:r>
              <a:rPr lang="en-US" sz="3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C and drug choice outside the Sah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506EAA-0711-17B3-3F7D-6E05074BC9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8" y="1507526"/>
            <a:ext cx="6154271" cy="5173052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Transmission patterns in Malawi reflect East and Southern Africa realities </a:t>
            </a:r>
          </a:p>
          <a:p>
            <a:pPr marL="732516" lvl="1" indent="-342900"/>
            <a:r>
              <a:rPr lang="en-US" sz="2100" b="0" dirty="0">
                <a:latin typeface="Calibri" panose="020F0502020204030204" pitchFamily="34" charset="0"/>
                <a:cs typeface="Calibri" panose="020F0502020204030204" pitchFamily="34" charset="0"/>
              </a:rPr>
              <a:t>Moderate to high transmission with seasonal peaks and geographical heterogeneity</a:t>
            </a:r>
          </a:p>
          <a:p>
            <a:endParaRPr lang="en-US" sz="12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High SP resistance may limit anti-malarial efficacy, but may have non-malaria benefi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Chloroquine is an attractive option as it is:</a:t>
            </a:r>
          </a:p>
          <a:p>
            <a:pPr marL="732516" lvl="1" indent="-342900"/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Cheap</a:t>
            </a:r>
          </a:p>
          <a:p>
            <a:pPr marL="732516" lvl="1" indent="-342900"/>
            <a:r>
              <a:rPr lang="en-US" sz="2100" b="0" dirty="0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</a:p>
          <a:p>
            <a:pPr marL="732516" lvl="1" indent="-342900"/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Not used for treatment</a:t>
            </a:r>
          </a:p>
          <a:p>
            <a:pPr marL="732516" lvl="1" indent="-342900"/>
            <a:r>
              <a:rPr lang="en-US" sz="2100" b="0" dirty="0">
                <a:latin typeface="Calibri" panose="020F0502020204030204" pitchFamily="34" charset="0"/>
                <a:cs typeface="Calibri" panose="020F0502020204030204" pitchFamily="34" charset="0"/>
              </a:rPr>
              <a:t>No molecular evidence of resist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06EB97B-5D7A-04C7-8BB0-75CEDEAC7806}"/>
              </a:ext>
            </a:extLst>
          </p:cNvPr>
          <p:cNvGrpSpPr/>
          <p:nvPr/>
        </p:nvGrpSpPr>
        <p:grpSpPr>
          <a:xfrm>
            <a:off x="6893169" y="1294331"/>
            <a:ext cx="4513385" cy="3359731"/>
            <a:chOff x="6732517" y="526473"/>
            <a:chExt cx="4019702" cy="334178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A4A0D0-0783-D634-0314-BEC7C9F76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32517" y="2198198"/>
              <a:ext cx="1583441" cy="147837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13D59AD-FE31-36AE-ED1C-0BE33C7FB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84324" y="528142"/>
              <a:ext cx="2167895" cy="3340112"/>
            </a:xfrm>
            <a:prstGeom prst="rect">
              <a:avLst/>
            </a:prstGeom>
            <a:ln w="28575" cap="sq">
              <a:solidFill>
                <a:srgbClr val="000000"/>
              </a:solidFill>
              <a:miter lim="800000"/>
            </a:ln>
            <a:effectLst>
              <a:outerShdw blurRad="57150" dist="50800" dir="2700000" algn="tl" rotWithShape="0">
                <a:srgbClr val="000000">
                  <a:alpha val="40000"/>
                </a:srgbClr>
              </a:outerShdw>
            </a:effectLst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799F38D-CDE2-A71D-AC44-176AAD304A7E}"/>
                </a:ext>
              </a:extLst>
            </p:cNvPr>
            <p:cNvCxnSpPr/>
            <p:nvPr/>
          </p:nvCxnSpPr>
          <p:spPr>
            <a:xfrm flipV="1">
              <a:off x="7869382" y="526473"/>
              <a:ext cx="678873" cy="2521527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4528408-E725-F9A3-F8B1-06966406377B}"/>
                </a:ext>
              </a:extLst>
            </p:cNvPr>
            <p:cNvCxnSpPr>
              <a:cxnSpLocks/>
            </p:cNvCxnSpPr>
            <p:nvPr/>
          </p:nvCxnSpPr>
          <p:spPr>
            <a:xfrm>
              <a:off x="7869382" y="3311236"/>
              <a:ext cx="714942" cy="557018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00FC852-0062-E7B8-8FA6-F54A9D3AD348}"/>
              </a:ext>
            </a:extLst>
          </p:cNvPr>
          <p:cNvSpPr txBox="1"/>
          <p:nvPr/>
        </p:nvSpPr>
        <p:spPr>
          <a:xfrm>
            <a:off x="681877" y="6299752"/>
            <a:ext cx="430438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err="1">
                <a:solidFill>
                  <a:schemeClr val="bg1">
                    <a:lumMod val="65000"/>
                  </a:schemeClr>
                </a:solidFill>
              </a:rPr>
              <a:t>Artimovich</a:t>
            </a:r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 et al JID, 2015; Laufer et al NEJM, 2006.</a:t>
            </a:r>
          </a:p>
        </p:txBody>
      </p:sp>
    </p:spTree>
    <p:extLst>
      <p:ext uri="{BB962C8B-B14F-4D97-AF65-F5344CB8AC3E}">
        <p14:creationId xmlns:p14="http://schemas.microsoft.com/office/powerpoint/2010/main" val="3679846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E1D392-6311-EF57-5088-74C4A44238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t="10002" r="-5166"/>
          <a:stretch>
            <a:fillRect/>
          </a:stretch>
        </p:blipFill>
        <p:spPr>
          <a:xfrm>
            <a:off x="562708" y="1308678"/>
            <a:ext cx="10105292" cy="479049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E1985D-4EE8-26D6-F25A-0AF18460D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sonality of Malaria cases in Mwanza, Malaw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6E421-E56D-306B-8347-48F3EBC17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E1DC9-1FDC-6C4B-A999-E0AC3D513FA3}" type="slidenum">
              <a:rPr lang="en-US" smtClean="0"/>
              <a:t>5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5F98F5F-FDAB-C973-2098-4877357C750A}"/>
              </a:ext>
            </a:extLst>
          </p:cNvPr>
          <p:cNvSpPr txBox="1"/>
          <p:nvPr/>
        </p:nvSpPr>
        <p:spPr>
          <a:xfrm>
            <a:off x="9213273" y="1191247"/>
            <a:ext cx="2770908" cy="221308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endParaRPr lang="en-US" sz="2800" dirty="0">
              <a:solidFill>
                <a:srgbClr val="FF0000"/>
              </a:solidFill>
            </a:endParaRPr>
          </a:p>
          <a:p>
            <a:r>
              <a:rPr lang="en-US" sz="2800" dirty="0">
                <a:solidFill>
                  <a:srgbClr val="FF0000"/>
                </a:solidFill>
              </a:rPr>
              <a:t>61% of annual cases occur Jan-May </a:t>
            </a:r>
          </a:p>
          <a:p>
            <a:r>
              <a:rPr lang="en-US" sz="2000" dirty="0">
                <a:solidFill>
                  <a:srgbClr val="FF0000"/>
                </a:solidFill>
              </a:rPr>
              <a:t>(4-year average</a:t>
            </a:r>
            <a:r>
              <a:rPr lang="en-US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764D99-8B06-BEB5-596C-839E0E3F1FC8}"/>
              </a:ext>
            </a:extLst>
          </p:cNvPr>
          <p:cNvSpPr/>
          <p:nvPr/>
        </p:nvSpPr>
        <p:spPr>
          <a:xfrm>
            <a:off x="1052945" y="1676406"/>
            <a:ext cx="803564" cy="3394364"/>
          </a:xfrm>
          <a:prstGeom prst="rect">
            <a:avLst/>
          </a:prstGeom>
          <a:solidFill>
            <a:schemeClr val="accent3">
              <a:lumMod val="20000"/>
              <a:lumOff val="80000"/>
              <a:alpha val="46114"/>
            </a:schemeClr>
          </a:solidFill>
          <a:ln w="38100">
            <a:solidFill>
              <a:schemeClr val="accent3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66C353-D331-9F8E-E85B-AE0C24AF5469}"/>
              </a:ext>
            </a:extLst>
          </p:cNvPr>
          <p:cNvSpPr/>
          <p:nvPr/>
        </p:nvSpPr>
        <p:spPr>
          <a:xfrm>
            <a:off x="3197736" y="1676406"/>
            <a:ext cx="803564" cy="3394364"/>
          </a:xfrm>
          <a:prstGeom prst="rect">
            <a:avLst/>
          </a:prstGeom>
          <a:solidFill>
            <a:schemeClr val="accent3">
              <a:lumMod val="20000"/>
              <a:lumOff val="80000"/>
              <a:alpha val="46114"/>
            </a:schemeClr>
          </a:solidFill>
          <a:ln w="38100">
            <a:solidFill>
              <a:schemeClr val="accent3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9A6664-9145-2077-EF47-422D4488B435}"/>
              </a:ext>
            </a:extLst>
          </p:cNvPr>
          <p:cNvSpPr/>
          <p:nvPr/>
        </p:nvSpPr>
        <p:spPr>
          <a:xfrm>
            <a:off x="5627610" y="1676406"/>
            <a:ext cx="803564" cy="3394364"/>
          </a:xfrm>
          <a:prstGeom prst="rect">
            <a:avLst/>
          </a:prstGeom>
          <a:solidFill>
            <a:schemeClr val="accent3">
              <a:lumMod val="20000"/>
              <a:lumOff val="80000"/>
              <a:alpha val="46114"/>
            </a:schemeClr>
          </a:solidFill>
          <a:ln w="38100">
            <a:solidFill>
              <a:schemeClr val="accent3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75466E-131F-2F1C-72BF-1F1B0E780740}"/>
              </a:ext>
            </a:extLst>
          </p:cNvPr>
          <p:cNvSpPr/>
          <p:nvPr/>
        </p:nvSpPr>
        <p:spPr>
          <a:xfrm>
            <a:off x="7897092" y="1676406"/>
            <a:ext cx="803564" cy="3394364"/>
          </a:xfrm>
          <a:prstGeom prst="rect">
            <a:avLst/>
          </a:prstGeom>
          <a:solidFill>
            <a:schemeClr val="accent3">
              <a:lumMod val="20000"/>
              <a:lumOff val="80000"/>
              <a:alpha val="46114"/>
            </a:schemeClr>
          </a:solidFill>
          <a:ln w="38100">
            <a:solidFill>
              <a:schemeClr val="accent3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312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 animBg="1"/>
      <p:bldP spid="20" grpId="0" animBg="1"/>
      <p:bldP spid="21" grpId="0" animBg="1"/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91C5F4-E581-4952-F5B1-B20EF84379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059" y="1537505"/>
            <a:ext cx="10252285" cy="459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Question: </a:t>
            </a:r>
            <a:r>
              <a:rPr lang="en-VN" sz="2400" b="0">
                <a:latin typeface="Calibri" panose="020F0502020204030204" pitchFamily="34" charset="0"/>
                <a:cs typeface="Calibri" panose="020F0502020204030204" pitchFamily="34" charset="0"/>
              </a:rPr>
              <a:t>Which antimalarial drug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VN" sz="2400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delivered as SMC </a:t>
            </a:r>
            <a:r>
              <a:rPr lang="en-VN" sz="2400" b="0">
                <a:latin typeface="Calibri" panose="020F0502020204030204" pitchFamily="34" charset="0"/>
                <a:cs typeface="Calibri" panose="020F0502020204030204" pitchFamily="34" charset="0"/>
              </a:rPr>
              <a:t>provide the greatest protection against malaria attributable morbidity in young children in </a:t>
            </a:r>
            <a:r>
              <a:rPr lang="en-GB" sz="2400" b="0" dirty="0">
                <a:latin typeface="Calibri" panose="020F0502020204030204" pitchFamily="34" charset="0"/>
                <a:cs typeface="Calibri" panose="020F0502020204030204" pitchFamily="34" charset="0"/>
              </a:rPr>
              <a:t>Malawi?</a:t>
            </a: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tudy population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: 6900 children 3-59mon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Intervention: 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5 monthly cycles of chemoprevention, all doses DOT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llocation: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Individual, factorial </a:t>
            </a: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randomisation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(6 arm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Follow-up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: Active follow-up through 1 month after last </a:t>
            </a: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dones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, passive follow-up for total of 1-y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/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2A8AF1-9ADD-5573-ACB1-9DE41B2C29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 dirty="0">
                <a:solidFill>
                  <a:srgbClr val="C00000"/>
                </a:solidFill>
              </a:rPr>
              <a:t>CHAMP</a:t>
            </a:r>
            <a:r>
              <a:rPr lang="en-US" sz="3000" dirty="0">
                <a:solidFill>
                  <a:srgbClr val="C00000"/>
                </a:solidFill>
              </a:rPr>
              <a:t> Drug: Trial Desig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4AAE449-A343-4EDD-7B73-84082435E369}"/>
              </a:ext>
            </a:extLst>
          </p:cNvPr>
          <p:cNvGraphicFramePr>
            <a:graphicFrameLocks noGrp="1"/>
          </p:cNvGraphicFramePr>
          <p:nvPr/>
        </p:nvGraphicFramePr>
        <p:xfrm>
          <a:off x="1438656" y="3686201"/>
          <a:ext cx="9217152" cy="158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666">
                  <a:extLst>
                    <a:ext uri="{9D8B030D-6E8A-4147-A177-3AD203B41FA5}">
                      <a16:colId xmlns:a16="http://schemas.microsoft.com/office/drawing/2014/main" val="4275830394"/>
                    </a:ext>
                  </a:extLst>
                </a:gridCol>
                <a:gridCol w="1168914">
                  <a:extLst>
                    <a:ext uri="{9D8B030D-6E8A-4147-A177-3AD203B41FA5}">
                      <a16:colId xmlns:a16="http://schemas.microsoft.com/office/drawing/2014/main" val="835621146"/>
                    </a:ext>
                  </a:extLst>
                </a:gridCol>
                <a:gridCol w="2258129">
                  <a:extLst>
                    <a:ext uri="{9D8B030D-6E8A-4147-A177-3AD203B41FA5}">
                      <a16:colId xmlns:a16="http://schemas.microsoft.com/office/drawing/2014/main" val="644516026"/>
                    </a:ext>
                  </a:extLst>
                </a:gridCol>
                <a:gridCol w="1926052">
                  <a:extLst>
                    <a:ext uri="{9D8B030D-6E8A-4147-A177-3AD203B41FA5}">
                      <a16:colId xmlns:a16="http://schemas.microsoft.com/office/drawing/2014/main" val="2154869093"/>
                    </a:ext>
                  </a:extLst>
                </a:gridCol>
                <a:gridCol w="1955391">
                  <a:extLst>
                    <a:ext uri="{9D8B030D-6E8A-4147-A177-3AD203B41FA5}">
                      <a16:colId xmlns:a16="http://schemas.microsoft.com/office/drawing/2014/main" val="22625568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ndomisation</a:t>
                      </a:r>
                      <a:endParaRPr lang="en-US" sz="20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46499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ydroxychloroquin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modiaquin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44568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+HCQ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+AQ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+Placebo</a:t>
                      </a:r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0738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+HCQ</a:t>
                      </a:r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+AQ</a:t>
                      </a:r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+Placebo</a:t>
                      </a:r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5428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4427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68FDC-31FA-FF1B-0E36-85D0C36D6D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3445" y="1422308"/>
            <a:ext cx="10405110" cy="4590000"/>
          </a:xfrm>
        </p:spPr>
        <p:txBody>
          <a:bodyPr>
            <a:noAutofit/>
          </a:bodyPr>
          <a:lstStyle/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-</a:t>
            </a:r>
            <a:r>
              <a:rPr lang="en-VN" sz="2400" b="1">
                <a:latin typeface="Calibri" panose="020F0502020204030204" pitchFamily="34" charset="0"/>
                <a:cs typeface="Calibri" panose="020F0502020204030204" pitchFamily="34" charset="0"/>
              </a:rPr>
              <a:t>Primary</a:t>
            </a:r>
            <a:r>
              <a:rPr lang="en-VN" sz="2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1122133" lvl="2" indent="-342900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ospitalisatio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ue to malaria</a:t>
            </a:r>
          </a:p>
          <a:p>
            <a:pPr marL="1122133" lvl="2" indent="-342900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Uncomplicated clinical malaria</a:t>
            </a:r>
            <a:endParaRPr lang="en-VN" sz="2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VN" sz="2400" b="1">
                <a:latin typeface="Calibri" panose="020F0502020204030204" pitchFamily="34" charset="0"/>
                <a:cs typeface="Calibri" panose="020F0502020204030204" pitchFamily="34" charset="0"/>
              </a:rPr>
              <a:t>Secondary</a:t>
            </a:r>
            <a:r>
              <a:rPr lang="en-VN" sz="24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ll cause hospital admissions and mortality 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evere malaria meeting WHO definitions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ll infections requiring antibacterial or antimalarial treatment 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arasite prevalence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hange in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aemoglobi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concentration and growth parameters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Drug resistance markers</a:t>
            </a:r>
          </a:p>
          <a:p>
            <a:pPr lvl="2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afety and tolerabili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4127AC-D063-1441-091A-DF674E76F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CHAMP Drug: </a:t>
            </a:r>
            <a:r>
              <a:rPr lang="en-VN" sz="3200">
                <a:solidFill>
                  <a:srgbClr val="C00000"/>
                </a:solidFill>
              </a:rPr>
              <a:t>Outcomes</a:t>
            </a:r>
          </a:p>
        </p:txBody>
      </p:sp>
      <p:pic>
        <p:nvPicPr>
          <p:cNvPr id="9" name="Graphic 8" descr="Inpatient with solid fill">
            <a:extLst>
              <a:ext uri="{FF2B5EF4-FFF2-40B4-BE49-F238E27FC236}">
                <a16:creationId xmlns:a16="http://schemas.microsoft.com/office/drawing/2014/main" id="{12A36903-D42D-20EE-CCCC-8E374175F9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0365" y="1738746"/>
            <a:ext cx="914400" cy="914400"/>
          </a:xfrm>
          <a:prstGeom prst="rect">
            <a:avLst/>
          </a:prstGeom>
        </p:spPr>
      </p:pic>
      <p:pic>
        <p:nvPicPr>
          <p:cNvPr id="11" name="Graphic 10" descr="Medical with solid fill">
            <a:extLst>
              <a:ext uri="{FF2B5EF4-FFF2-40B4-BE49-F238E27FC236}">
                <a16:creationId xmlns:a16="http://schemas.microsoft.com/office/drawing/2014/main" id="{B764255A-D748-B3B7-9AC4-2E3CC6EA4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0280" y="173874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301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8A307-C0D1-A2A4-A121-F977B429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3F41B-A4B8-CD28-4BB4-93D5287D76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5801" y="3188880"/>
            <a:ext cx="10352314" cy="2819400"/>
          </a:xfrm>
        </p:spPr>
        <p:txBody>
          <a:bodyPr>
            <a:noAutofit/>
          </a:bodyPr>
          <a:lstStyle/>
          <a:p>
            <a:r>
              <a:rPr lang="en-US" sz="2400" dirty="0">
                <a:latin typeface="Calibri" panose="020F0502020204030204" pitchFamily="34" charset="0"/>
              </a:rPr>
              <a:t>The trial will: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sz="2400" b="0" dirty="0">
                <a:latin typeface="Calibri" panose="020F0502020204030204" pitchFamily="34" charset="0"/>
              </a:rPr>
              <a:t>Determine chemoprevention drug efficacy, quantify SP’s malaria-specific and non-malaria impact</a:t>
            </a:r>
          </a:p>
          <a:p>
            <a:pPr marL="732516" lvl="1" indent="-342900">
              <a:buFont typeface="Wingdings" pitchFamily="2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Inform choice of drugs for SMC, PMC, and </a:t>
            </a:r>
            <a:r>
              <a:rPr lang="en-US" sz="2400" b="1" dirty="0" err="1">
                <a:latin typeface="Calibri" panose="020F0502020204030204" pitchFamily="34" charset="0"/>
              </a:rPr>
              <a:t>IPTsc</a:t>
            </a:r>
            <a:r>
              <a:rPr lang="en-US" sz="2400" b="1" dirty="0">
                <a:latin typeface="Calibri" panose="020F0502020204030204" pitchFamily="34" charset="0"/>
              </a:rPr>
              <a:t> </a:t>
            </a:r>
          </a:p>
          <a:p>
            <a:pPr lvl="1" indent="0">
              <a:buNone/>
            </a:pPr>
            <a:endParaRPr lang="en-US" sz="2400" dirty="0">
              <a:latin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-US" sz="2400" b="0" dirty="0">
                <a:latin typeface="Calibri" panose="020F0502020204030204" pitchFamily="34" charset="0"/>
              </a:rPr>
              <a:t>Measure impact of SMC outside the Sahel</a:t>
            </a:r>
          </a:p>
          <a:p>
            <a:pPr marL="732516" lvl="1" indent="-342900">
              <a:buFont typeface="Wingdings" pitchFamily="2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Inform policy in Malawi and the reg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03633F-2D9D-8129-3B56-3A0938183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CHAMP Drug: Timelines and Anticipated Impact</a:t>
            </a:r>
            <a:endParaRPr lang="en-VN" sz="3200">
              <a:solidFill>
                <a:srgbClr val="C00000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4530CFC-5848-FF37-62BA-22219C2D57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155723"/>
              </p:ext>
            </p:extLst>
          </p:nvPr>
        </p:nvGraphicFramePr>
        <p:xfrm>
          <a:off x="3643652" y="1653269"/>
          <a:ext cx="6922002" cy="143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067">
                  <a:extLst>
                    <a:ext uri="{9D8B030D-6E8A-4147-A177-3AD203B41FA5}">
                      <a16:colId xmlns:a16="http://schemas.microsoft.com/office/drawing/2014/main" val="1011548036"/>
                    </a:ext>
                  </a:extLst>
                </a:gridCol>
                <a:gridCol w="1809187">
                  <a:extLst>
                    <a:ext uri="{9D8B030D-6E8A-4147-A177-3AD203B41FA5}">
                      <a16:colId xmlns:a16="http://schemas.microsoft.com/office/drawing/2014/main" val="1919060054"/>
                    </a:ext>
                  </a:extLst>
                </a:gridCol>
                <a:gridCol w="2444159">
                  <a:extLst>
                    <a:ext uri="{9D8B030D-6E8A-4147-A177-3AD203B41FA5}">
                      <a16:colId xmlns:a16="http://schemas.microsoft.com/office/drawing/2014/main" val="2242785761"/>
                    </a:ext>
                  </a:extLst>
                </a:gridCol>
                <a:gridCol w="1427589">
                  <a:extLst>
                    <a:ext uri="{9D8B030D-6E8A-4147-A177-3AD203B41FA5}">
                      <a16:colId xmlns:a16="http://schemas.microsoft.com/office/drawing/2014/main" val="16229668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026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202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180400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r>
                        <a:rPr lang="en-US" dirty="0"/>
                        <a:t>Preparation</a:t>
                      </a:r>
                    </a:p>
                    <a:p>
                      <a:r>
                        <a:rPr lang="en-US" dirty="0"/>
                        <a:t>Site Census</a:t>
                      </a:r>
                    </a:p>
                    <a:p>
                      <a:r>
                        <a:rPr lang="en-US" dirty="0"/>
                        <a:t>Enroll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2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D  D  D  D  D </a:t>
                      </a:r>
                    </a:p>
                    <a:p>
                      <a:pPr marL="0" marR="0" lvl="0" indent="0" algn="l" defTabSz="7792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↓   ↓   ↓   ↓   ↓   ↓</a:t>
                      </a:r>
                    </a:p>
                    <a:p>
                      <a:pPr marL="0" marR="0" lvl="0" indent="0" algn="l" defTabSz="7792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Active &amp; passive follow-up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r>
                        <a:rPr lang="en-US" dirty="0"/>
                        <a:t>                                      x</a:t>
                      </a:r>
                    </a:p>
                    <a:p>
                      <a:r>
                        <a:rPr lang="en-US" dirty="0"/>
                        <a:t>Passive follow-up</a:t>
                      </a:r>
                    </a:p>
                    <a:p>
                      <a:r>
                        <a:rPr lang="en-US" dirty="0"/>
                        <a:t>Preliminary resu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r>
                        <a:rPr lang="en-US" dirty="0"/>
                        <a:t>            x</a:t>
                      </a:r>
                    </a:p>
                    <a:p>
                      <a:r>
                        <a:rPr lang="en-US" dirty="0"/>
                        <a:t>Analysis</a:t>
                      </a:r>
                    </a:p>
                    <a:p>
                      <a:r>
                        <a:rPr lang="en-US" dirty="0"/>
                        <a:t>Final 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290301"/>
                  </a:ext>
                </a:extLst>
              </a:tr>
            </a:tbl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442C5E0-DE4C-D9F8-D675-D58AE874363B}"/>
              </a:ext>
            </a:extLst>
          </p:cNvPr>
          <p:cNvCxnSpPr/>
          <p:nvPr/>
        </p:nvCxnSpPr>
        <p:spPr>
          <a:xfrm>
            <a:off x="4870857" y="2318657"/>
            <a:ext cx="4100946" cy="0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81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5F175F-B088-CED5-007C-40B31AB721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2886" y="1553834"/>
            <a:ext cx="5917376" cy="4590000"/>
          </a:xfrm>
        </p:spPr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lawi Liverpool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Wellcom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Program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Henry </a:t>
            </a: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Mwandumba</a:t>
            </a: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Tikhala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Jere</a:t>
            </a:r>
          </a:p>
          <a:p>
            <a:pPr marL="342900" indent="-342900">
              <a:buFontTx/>
              <a:buChar char="-"/>
            </a:pP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Lumbani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Makhaza</a:t>
            </a: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Liverpool School of Tropical Medicine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Lauren Cohee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Jane Rawlinson</a:t>
            </a:r>
          </a:p>
          <a:p>
            <a:pPr marL="342900" indent="-342900">
              <a:buFontTx/>
              <a:buChar char="-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396B16-1C61-2AF7-7464-9AAFD5E10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knowledgement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E06DC3F7-D113-1067-97BD-76AF4754A3C7}"/>
              </a:ext>
            </a:extLst>
          </p:cNvPr>
          <p:cNvSpPr txBox="1">
            <a:spLocks/>
          </p:cNvSpPr>
          <p:nvPr/>
        </p:nvSpPr>
        <p:spPr>
          <a:xfrm>
            <a:off x="6096000" y="1134000"/>
            <a:ext cx="5917376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79233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16" indent="-194808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33" indent="-194808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2908" indent="-198866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4627" indent="-196161" algn="l" defTabSz="779233" rtl="0" eaLnBrk="1" latinLnBrk="0" hangingPunct="1">
              <a:spcBef>
                <a:spcPct val="20000"/>
              </a:spcBef>
              <a:buClr>
                <a:srgbClr val="B0120E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889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05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21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738" indent="-194808" algn="l" defTabSz="7792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Char char="-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alawi National Malaria Control Program</a:t>
            </a:r>
          </a:p>
          <a:p>
            <a:pPr marL="342900" indent="-342900">
              <a:buFontTx/>
              <a:buChar char="-"/>
            </a:pPr>
            <a:r>
              <a:rPr lang="en-US" sz="2400" b="0" dirty="0" err="1">
                <a:latin typeface="Calibri" panose="020F0502020204030204" pitchFamily="34" charset="0"/>
                <a:cs typeface="Calibri" panose="020F0502020204030204" pitchFamily="34" charset="0"/>
              </a:rPr>
              <a:t>Lumbani</a:t>
            </a: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 Munthali</a:t>
            </a:r>
          </a:p>
          <a:p>
            <a:pPr marL="342900" indent="-342900">
              <a:buFontTx/>
              <a:buChar char="-"/>
            </a:pP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MORU/Oxford 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James Watson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Dhruv Darji</a:t>
            </a:r>
          </a:p>
          <a:p>
            <a:pPr marL="342900" indent="-342900">
              <a:buFontTx/>
              <a:buChar char="-"/>
            </a:pPr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Nick White</a:t>
            </a:r>
          </a:p>
          <a:p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Funding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420E99-8B79-DC69-7271-5E9511327F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7919" y="4984766"/>
            <a:ext cx="1993900" cy="4572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39F320-FCF9-4559-723B-1FA3E9DD51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5696" y="2154588"/>
            <a:ext cx="2292315" cy="21712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C70473-0155-8066-E8E4-021A4AFB67C0}"/>
              </a:ext>
            </a:extLst>
          </p:cNvPr>
          <p:cNvSpPr txBox="1"/>
          <p:nvPr/>
        </p:nvSpPr>
        <p:spPr>
          <a:xfrm>
            <a:off x="9791307" y="4337132"/>
            <a:ext cx="1039067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/>
              <a:t>1951-2026</a:t>
            </a:r>
          </a:p>
        </p:txBody>
      </p:sp>
    </p:spTree>
    <p:extLst>
      <p:ext uri="{BB962C8B-B14F-4D97-AF65-F5344CB8AC3E}">
        <p14:creationId xmlns:p14="http://schemas.microsoft.com/office/powerpoint/2010/main" val="1340798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3508743E02F2489AB9A0B70F9A8DD4" ma:contentTypeVersion="3" ma:contentTypeDescription="Create a new document." ma:contentTypeScope="" ma:versionID="e7524deda16b295d39bc4f75b78b744e">
  <xsd:schema xmlns:xsd="http://www.w3.org/2001/XMLSchema" xmlns:xs="http://www.w3.org/2001/XMLSchema" xmlns:p="http://schemas.microsoft.com/office/2006/metadata/properties" xmlns:ns2="f8d7f07c-8885-47f1-b936-0da718ee62e8" targetNamespace="http://schemas.microsoft.com/office/2006/metadata/properties" ma:root="true" ma:fieldsID="a876463400024ac21fe806feea4d221d" ns2:_="">
    <xsd:import namespace="f8d7f07c-8885-47f1-b936-0da718ee62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d7f07c-8885-47f1-b936-0da718ee62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7D0ACD6-4A76-4B3F-B66F-18688F54D8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d7f07c-8885-47f1-b936-0da718ee62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ED0ED84-76D3-48D5-BE4F-412FF81FCA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72B12F-883A-4A73-AE45-140D51B9008A}">
  <ds:schemaRefs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f8d7f07c-8885-47f1-b936-0da718ee62e8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9</TotalTime>
  <Words>525</Words>
  <Application>Microsoft Macintosh PowerPoint</Application>
  <PresentationFormat>Widescreen</PresentationFormat>
  <Paragraphs>139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ptos</vt:lpstr>
      <vt:lpstr>Arial</vt:lpstr>
      <vt:lpstr>Calibri</vt:lpstr>
      <vt:lpstr>Wingdings</vt:lpstr>
      <vt:lpstr>MLW 2017 Site Visit Wide format</vt:lpstr>
      <vt:lpstr>think-cell Slide</vt:lpstr>
      <vt:lpstr>PowerPoint Presentation</vt:lpstr>
      <vt:lpstr>SMC outside the Sahel</vt:lpstr>
      <vt:lpstr>Will chemoprevention achieve the same impact in East and Southern Africa as observed in the Sahel? </vt:lpstr>
      <vt:lpstr>SMC and drug choice outside the Sahel</vt:lpstr>
      <vt:lpstr>Seasonality of Malaria cases in Mwanza, Malawi</vt:lpstr>
      <vt:lpstr>CHAMP Drug: Trial Design</vt:lpstr>
      <vt:lpstr>CHAMP Drug: Outcomes</vt:lpstr>
      <vt:lpstr>CHAMP Drug: Timelines and Anticipated Impact</vt:lpstr>
      <vt:lpstr>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nnie Mategula</dc:creator>
  <cp:lastModifiedBy>Lauren Cohee</cp:lastModifiedBy>
  <cp:revision>3</cp:revision>
  <dcterms:created xsi:type="dcterms:W3CDTF">2026-02-25T07:45:57Z</dcterms:created>
  <dcterms:modified xsi:type="dcterms:W3CDTF">2026-02-25T14:0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3508743E02F2489AB9A0B70F9A8DD4</vt:lpwstr>
  </property>
</Properties>
</file>